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1"/>
  </p:notesMasterIdLst>
  <p:sldIdLst>
    <p:sldId id="328" r:id="rId2"/>
    <p:sldId id="330" r:id="rId3"/>
    <p:sldId id="332" r:id="rId4"/>
    <p:sldId id="337" r:id="rId5"/>
    <p:sldId id="340" r:id="rId6"/>
    <p:sldId id="342" r:id="rId7"/>
    <p:sldId id="334" r:id="rId8"/>
    <p:sldId id="336" r:id="rId9"/>
    <p:sldId id="338" r:id="rId10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ydén Annica" initials="NA" lastIdx="3" clrIdx="0">
    <p:extLst>
      <p:ext uri="{19B8F6BF-5375-455C-9EA6-DF929625EA0E}">
        <p15:presenceInfo xmlns:p15="http://schemas.microsoft.com/office/powerpoint/2012/main" userId="S-1-5-21-3333221951-3734500458-1540040394-1997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just format 2 - Dekorfärg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664" autoAdjust="0"/>
    <p:restoredTop sz="96357" autoAdjust="0"/>
  </p:normalViewPr>
  <p:slideViewPr>
    <p:cSldViewPr snapToGrid="0">
      <p:cViewPr varScale="1">
        <p:scale>
          <a:sx n="126" d="100"/>
          <a:sy n="126" d="100"/>
        </p:scale>
        <p:origin x="672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2-11-08T13:29:28.045" idx="3">
    <p:pos x="7581" y="37"/>
    <p:text>Arbetet går enligt plan (grön)
Pågår med mindre problem (gul)
Har allvarliga problem (röd)
Avslutat </p:text>
    <p:extLst>
      <p:ext uri="{C676402C-5697-4E1C-873F-D02D1690AC5C}">
        <p15:threadingInfo xmlns:p15="http://schemas.microsoft.com/office/powerpoint/2012/main" timeZoneBias="-6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8EA18D-0120-4422-A1F3-FD346E576CD9}" type="datetimeFigureOut">
              <a:rPr lang="sv-SE" smtClean="0"/>
              <a:t>2024-09-12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D82B77-8D35-43CB-A246-DEDF706A761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251158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142875" y="768350"/>
            <a:ext cx="6818313" cy="3836988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570133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639727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9946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6142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916153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8764598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299128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1073659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7553627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9234249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35364138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09-12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95904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676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hyperlink" Target="https://sydostrasjukvardsregionen.se/regionsjukvardsledningen/processtod-och-mallar/handlingsplan/" TargetMode="Externa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g"/><Relationship Id="rId5" Type="http://schemas.openxmlformats.org/officeDocument/2006/relationships/image" Target="../media/image8.gif"/><Relationship Id="rId4" Type="http://schemas.openxmlformats.org/officeDocument/2006/relationships/image" Target="../media/image7.gi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omments" Target="../comments/comment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0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/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1903752"/>
            <a:ext cx="10363200" cy="2061146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Njur- och urinvägssjukdomar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>Uppdaterad: 2024-09-12</a:t>
            </a:r>
          </a:p>
        </p:txBody>
      </p:sp>
    </p:spTree>
    <p:extLst>
      <p:ext uri="{BB962C8B-B14F-4D97-AF65-F5344CB8AC3E}">
        <p14:creationId xmlns:p14="http://schemas.microsoft.com/office/powerpoint/2010/main" val="37306421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466CE8D-B958-435E-8F94-2AB6E1341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Instruktion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2B14E13-E404-44D3-B4CC-5802DAE151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171734"/>
            <a:ext cx="10972800" cy="3987020"/>
          </a:xfrm>
        </p:spPr>
        <p:txBody>
          <a:bodyPr>
            <a:normAutofit fontScale="92500" lnSpcReduction="10000"/>
          </a:bodyPr>
          <a:lstStyle/>
          <a:p>
            <a:r>
              <a:rPr lang="sv-SE" sz="2000" dirty="0"/>
              <a:t>Den översiktliga handlingsplanen är en levande lägesbild som används i dialog för kontinuerlig planering, uppföljning och rapporter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Nationellt insatsområde: </a:t>
            </a:r>
            <a:r>
              <a:rPr lang="sv-SE" sz="2000" dirty="0"/>
              <a:t>insatsområden från NPO verksamhetsplan. Lämnas tom i de fall RPO/RSG:s prioriterade område inte utgår från nationellt insatsområde</a:t>
            </a:r>
            <a:endParaRPr lang="sv-SE" sz="1467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Prioriterat område och patientlöfte:</a:t>
            </a:r>
            <a:r>
              <a:rPr lang="sv-SE" sz="2000" dirty="0"/>
              <a:t> RPO/RSG:s prioriterade områden kopplade till sjukvårdsregionens patientlöft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Aktiviteter:</a:t>
            </a:r>
            <a:r>
              <a:rPr lang="sv-SE" sz="2000" dirty="0"/>
              <a:t> ange hur det sjukvårdsregionala arbetet bedrivs, tidplan och samverka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Uppföljning:</a:t>
            </a:r>
            <a:r>
              <a:rPr lang="sv-SE" sz="2000" dirty="0"/>
              <a:t> ange metod, kvalitetsindikatorer, </a:t>
            </a:r>
            <a:r>
              <a:rPr lang="sv-SE" sz="2000" dirty="0" err="1"/>
              <a:t>målvärden</a:t>
            </a:r>
            <a:r>
              <a:rPr lang="sv-SE" sz="2000" dirty="0"/>
              <a:t> och 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000" b="1" dirty="0"/>
              <a:t>Status:</a:t>
            </a:r>
            <a:r>
              <a:rPr lang="sv-SE" sz="2000" dirty="0"/>
              <a:t> ange om arbetet går enligt plan (grön), pågår med mindre problem (gul), </a:t>
            </a:r>
            <a:br>
              <a:rPr lang="sv-SE" sz="2000" dirty="0"/>
            </a:br>
            <a:r>
              <a:rPr lang="sv-SE" sz="2000" dirty="0"/>
              <a:t>har allvarliga problem (röd) eller är avslutat (kryssruta)</a:t>
            </a:r>
          </a:p>
          <a:p>
            <a:r>
              <a:rPr lang="sv-SE" sz="2000" dirty="0"/>
              <a:t>Använd sidorna ”Resultat” och ”Utmaningar” för att kommentera resultat, utveckling, behov av samverkan eller ledningsstöd, framgångsfaktorer eller hinder för det sjukvårdsregionala samarbetet.</a:t>
            </a:r>
          </a:p>
          <a:p>
            <a:r>
              <a:rPr lang="sv-SE" sz="2000" dirty="0">
                <a:hlinkClick r:id="rId2"/>
              </a:rPr>
              <a:t>Läs mer om handlingsplan på sjukvårdsregionens webbplats</a:t>
            </a:r>
            <a:endParaRPr lang="sv-SE" sz="2000" dirty="0"/>
          </a:p>
        </p:txBody>
      </p:sp>
      <p:grpSp>
        <p:nvGrpSpPr>
          <p:cNvPr id="8" name="Grupp 7"/>
          <p:cNvGrpSpPr/>
          <p:nvPr/>
        </p:nvGrpSpPr>
        <p:grpSpPr>
          <a:xfrm>
            <a:off x="9871586" y="4626654"/>
            <a:ext cx="1178350" cy="286086"/>
            <a:chOff x="9871586" y="4715666"/>
            <a:chExt cx="1178350" cy="286086"/>
          </a:xfrm>
        </p:grpSpPr>
        <p:pic>
          <p:nvPicPr>
            <p:cNvPr id="4" name="Bildobjekt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871586" y="4716002"/>
              <a:ext cx="285750" cy="285750"/>
            </a:xfrm>
            <a:prstGeom prst="rect">
              <a:avLst/>
            </a:prstGeom>
          </p:spPr>
        </p:pic>
        <p:pic>
          <p:nvPicPr>
            <p:cNvPr id="5" name="Bildobjekt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72655" y="4716002"/>
              <a:ext cx="285750" cy="285750"/>
            </a:xfrm>
            <a:prstGeom prst="rect">
              <a:avLst/>
            </a:prstGeom>
          </p:spPr>
        </p:pic>
        <p:pic>
          <p:nvPicPr>
            <p:cNvPr id="6" name="Bildobjekt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66154" y="4716002"/>
              <a:ext cx="285750" cy="285750"/>
            </a:xfrm>
            <a:prstGeom prst="rect">
              <a:avLst/>
            </a:prstGeom>
          </p:spPr>
        </p:pic>
        <p:pic>
          <p:nvPicPr>
            <p:cNvPr id="7" name="Bildobjekt 6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95936" y="4715666"/>
              <a:ext cx="254000" cy="2667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6702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4581139"/>
              </p:ext>
            </p:extLst>
          </p:nvPr>
        </p:nvGraphicFramePr>
        <p:xfrm>
          <a:off x="0" y="0"/>
          <a:ext cx="12191999" cy="588065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16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809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2735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423475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92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200" b="1" baseline="0" dirty="0">
                          <a:latin typeface="+mj-lt"/>
                        </a:rPr>
                        <a:t>Urineringsbesvä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rta gemensamma benigna processer för Urologi,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öSR</a:t>
                      </a:r>
                      <a:endParaRPr lang="sv-SE" sz="13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Delaktig och välinformerad genom hela vårdkedjan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G Urineringsbesvär startade 2023. En första kartläggning ska göras med fokus på primärvården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dirty="0">
                          <a:latin typeface="+mj-lt"/>
                        </a:rPr>
                        <a:t>Status 2024-01-25: </a:t>
                      </a:r>
                    </a:p>
                    <a:p>
                      <a:pPr marL="0" algn="l" defTabSz="1219170" rtl="0" eaLnBrk="1" latinLnBrk="0" hangingPunct="1"/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G Urineringsbesvär har startat via NPO. En första kartläggning görs med fokus på primärvården och gemensamma faktadokument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Ordnat införande av OPT, organiserad prostatacancer-test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bästa möjliga hälsofrämjande insatser och välfungerande screeningprogram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emensamt arbete i Sydöstra regionen. </a:t>
                      </a:r>
                    </a:p>
                    <a:p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ilot Jönköping avslutad 2023-12-01. Breddinförande ska nu ske i hela regionen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-01-25: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reddinförande ska ske i hela regionen med start hösten -24 i RÖ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alt stöd för frågor kring </a:t>
                      </a:r>
                      <a:r>
                        <a:rPr lang="sv-SE" sz="1200" b="1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cystinuripatienter</a:t>
                      </a: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jning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enligt bästa kunskap</a:t>
                      </a:r>
                    </a:p>
                    <a:p>
                      <a:pPr lvl="0"/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Önskemål om ett regionalt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njurmedicinskt stöd för frågor kring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stinuripatiente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-01-25: </a:t>
                      </a:r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tt samarbete har påbörjats i RJL mellan urologen och njurmedicin. </a:t>
                      </a:r>
                      <a:r>
                        <a:rPr lang="sv-SE" sz="11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Hälsofrämjande arbet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rt av </a:t>
                      </a:r>
                      <a:r>
                        <a:rPr lang="sv-SE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ärcafé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ör </a:t>
                      </a:r>
                      <a:r>
                        <a:rPr lang="sv-SE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ystinuripatienter</a:t>
                      </a: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024-02-29: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tt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ärcafé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för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at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ed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ystinuri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har startat för att höja kunskapen och förståelsen av sin sjukdom. </a:t>
                      </a:r>
                      <a:endParaRPr lang="sv-SE" sz="1200" b="1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8854278"/>
                  </a:ext>
                </a:extLst>
              </a:tr>
            </a:tbl>
          </a:graphicData>
        </a:graphic>
      </p:graphicFrame>
      <p:sp>
        <p:nvSpPr>
          <p:cNvPr id="5" name="Flödesschema: Koppling 4"/>
          <p:cNvSpPr/>
          <p:nvPr/>
        </p:nvSpPr>
        <p:spPr>
          <a:xfrm>
            <a:off x="11489962" y="2408107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Flödesschema: Koppling 5"/>
          <p:cNvSpPr/>
          <p:nvPr/>
        </p:nvSpPr>
        <p:spPr>
          <a:xfrm>
            <a:off x="11444994" y="3970113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Flödesschema: Koppling 2">
            <a:extLst>
              <a:ext uri="{FF2B5EF4-FFF2-40B4-BE49-F238E27FC236}">
                <a16:creationId xmlns:a16="http://schemas.microsoft.com/office/drawing/2014/main" id="{9B3CA4B9-3115-CACC-C8A1-0206894A8309}"/>
              </a:ext>
            </a:extLst>
          </p:cNvPr>
          <p:cNvSpPr/>
          <p:nvPr/>
        </p:nvSpPr>
        <p:spPr>
          <a:xfrm>
            <a:off x="11444994" y="5264952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Flödesschema: Koppling 3">
            <a:extLst>
              <a:ext uri="{FF2B5EF4-FFF2-40B4-BE49-F238E27FC236}">
                <a16:creationId xmlns:a16="http://schemas.microsoft.com/office/drawing/2014/main" id="{9031A7A8-2BC8-B2E9-745A-1DCFF320394E}"/>
              </a:ext>
            </a:extLst>
          </p:cNvPr>
          <p:cNvSpPr/>
          <p:nvPr/>
        </p:nvSpPr>
        <p:spPr>
          <a:xfrm>
            <a:off x="11489962" y="1066239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8600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5757042"/>
              </p:ext>
            </p:extLst>
          </p:nvPr>
        </p:nvGraphicFramePr>
        <p:xfrm>
          <a:off x="0" y="0"/>
          <a:ext cx="10937966" cy="643128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9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931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383893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7648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5078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1172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ronisk njursjukdom</a:t>
                      </a:r>
                    </a:p>
                    <a:p>
                      <a:endParaRPr lang="sv-SE" sz="1200" b="1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Implementering av VP för kronisk njursjukdom</a:t>
                      </a:r>
                    </a:p>
                    <a:p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ch uppföljning enligt bästa kunskap i varje  möte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rganisering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h implementering av vårdprogram för kronisk njursjukdom.</a:t>
                      </a:r>
                      <a:endParaRPr lang="sv-SE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uts</a:t>
                      </a: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2024-02-29: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mplementering av vårdprogram pågår.</a:t>
                      </a:r>
                      <a:endParaRPr lang="sv-SE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1" dirty="0">
                        <a:solidFill>
                          <a:srgbClr val="393939"/>
                        </a:solidFill>
                        <a:effectLst/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363185">
                <a:tc vMerge="1"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Gemensamma riktlinjer för införande av nya läkemedel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uppföljning enligt bästa kunskap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amarbete pågår inom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öSR</a:t>
                      </a:r>
                      <a:endParaRPr lang="sv-SE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atus 2024-02-29: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nering för samordnat införande och riktlinjer för nya läkemedel på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8019604"/>
                  </a:ext>
                </a:extLst>
              </a:tr>
              <a:tr h="2465645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Tillgänglighet/transparens inom SÖSR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veckling av underlag, kvalitet och transparens avseende tillgänglighet till operation i SÖSR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-01-25: 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pdaterar tillgänglighetsrapport kontinuerligt, RKL har haft svårt att få fram data men lösning för detta är på gång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 gemensam rapport är på gång som till viss kan ersätter denna.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-05-23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pdrag till </a:t>
                      </a:r>
                      <a:r>
                        <a:rPr lang="sv-SE" sz="11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:er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tt utifrån tillgängligheten till behandling  se över hur vi kan samordna oss inom SÖSR. Diskussion om detta. Planerar för en halvdag den 2/9 i Nässjö för fortsatt diskussion och planering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-09-02: </a:t>
                      </a: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öte för att diskutera och planera för samordning av den benigna kirurgin. Inga beslut om mer konkreta åtgärder tas. </a:t>
                      </a:r>
                      <a:endParaRPr lang="sv-SE" sz="11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" name="Flödesschema: Koppling 2"/>
          <p:cNvSpPr/>
          <p:nvPr/>
        </p:nvSpPr>
        <p:spPr>
          <a:xfrm>
            <a:off x="10316624" y="1155442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Flödesschema: Koppling 6"/>
          <p:cNvSpPr/>
          <p:nvPr/>
        </p:nvSpPr>
        <p:spPr>
          <a:xfrm>
            <a:off x="10316624" y="2684442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Flödesschema: Koppling 1">
            <a:extLst>
              <a:ext uri="{FF2B5EF4-FFF2-40B4-BE49-F238E27FC236}">
                <a16:creationId xmlns:a16="http://schemas.microsoft.com/office/drawing/2014/main" id="{4C9D76FC-1DCF-B9C8-3AFC-C4A3794E2943}"/>
              </a:ext>
            </a:extLst>
          </p:cNvPr>
          <p:cNvSpPr/>
          <p:nvPr/>
        </p:nvSpPr>
        <p:spPr>
          <a:xfrm>
            <a:off x="10305025" y="3756195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707615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0758186"/>
              </p:ext>
            </p:extLst>
          </p:nvPr>
        </p:nvGraphicFramePr>
        <p:xfrm>
          <a:off x="0" y="0"/>
          <a:ext cx="12191999" cy="42672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5522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418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1257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183632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Hur blir vi attraktiva som arbetsplats?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vård som är lätt tillgänglig för kontakt, bedömning o besök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år största utmaning är att rekrytera och behålla vårdpersonal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-09: 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era arbeten pågå i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öSR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å njurmedicin har man börjat med dialys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k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”dusk” för att minska antalet hyr </a:t>
                      </a:r>
                      <a:r>
                        <a:rPr lang="sv-SE" sz="110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sk</a:t>
                      </a:r>
                      <a:r>
                        <a:rPr lang="sv-SE" sz="11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4091077"/>
                  </a:ext>
                </a:extLst>
              </a:tr>
              <a:tr h="927653"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Digitaliser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b="0" u="none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vård som är lätt tillgänglig för kontakt, bedömning och besök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Verka för att nyttja digitala verktyg för att skapa förbättringar inom vården för invånare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och medarbetare.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24-01-25: 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Digitala möten för PAD-svar kan nu genomföras för </a:t>
                      </a:r>
                      <a:r>
                        <a:rPr lang="sv-SE" sz="1000" b="0" kern="1200" baseline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pat</a:t>
                      </a:r>
                      <a:r>
                        <a:rPr lang="sv-SE" sz="1000" b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 </a:t>
                      </a:r>
                      <a:endParaRPr lang="sv-SE" sz="1000" b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5204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Forsk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uppföljning enligt bästa kunskap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1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ttform för vilken forskning som pågår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: </a:t>
                      </a:r>
                      <a:r>
                        <a:rPr lang="sv-SE" sz="1000" b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n punkt för pågående forskning planeras på vardera Regionmöte under 2024.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6136777"/>
                  </a:ext>
                </a:extLst>
              </a:tr>
            </a:tbl>
          </a:graphicData>
        </a:graphic>
      </p:graphicFrame>
      <p:sp>
        <p:nvSpPr>
          <p:cNvPr id="3" name="Flödesschema: Koppling 2"/>
          <p:cNvSpPr/>
          <p:nvPr/>
        </p:nvSpPr>
        <p:spPr>
          <a:xfrm>
            <a:off x="11448738" y="1107199"/>
            <a:ext cx="457200" cy="457200"/>
          </a:xfrm>
          <a:prstGeom prst="flowChartConnector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92D050"/>
              </a:solidFill>
            </a:endParaRPr>
          </a:p>
        </p:txBody>
      </p:sp>
      <p:sp>
        <p:nvSpPr>
          <p:cNvPr id="5" name="Flödesschema: Koppling 4"/>
          <p:cNvSpPr/>
          <p:nvPr/>
        </p:nvSpPr>
        <p:spPr>
          <a:xfrm>
            <a:off x="11454877" y="3470358"/>
            <a:ext cx="457200" cy="457200"/>
          </a:xfrm>
          <a:prstGeom prst="flowChartConnector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Flödesschema: Koppling 6"/>
          <p:cNvSpPr/>
          <p:nvPr/>
        </p:nvSpPr>
        <p:spPr>
          <a:xfrm>
            <a:off x="11448738" y="2214398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11233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1139553"/>
              </p:ext>
            </p:extLst>
          </p:nvPr>
        </p:nvGraphicFramePr>
        <p:xfrm>
          <a:off x="0" y="-1"/>
          <a:ext cx="10937966" cy="315917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0803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196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931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383893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7648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6112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39149">
                <a:tc>
                  <a:txBody>
                    <a:bodyPr/>
                    <a:lstStyle/>
                    <a:p>
                      <a:r>
                        <a:rPr lang="sv-SE" sz="1300" b="1" dirty="0">
                          <a:latin typeface="+mj-lt"/>
                        </a:rPr>
                        <a:t>Stensjukdom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Implementering av vårdprogram för stensjukdom i övre urinvägarna.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löften: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Jämlik vård 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Patientsäker vård</a:t>
                      </a:r>
                    </a:p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1100" b="0" kern="1200" baseline="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Erbjudas diagnostik, behandling o uppföljning enligt bästa kunskap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plementering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vårdprogram pågår.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4-01-25: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ågående arbete med implementering av vårdprogrammet</a:t>
                      </a:r>
                      <a:r>
                        <a:rPr lang="sv-SE" sz="1200" b="0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39149">
                <a:tc>
                  <a:txBody>
                    <a:bodyPr/>
                    <a:lstStyle/>
                    <a:p>
                      <a:endParaRPr lang="sv-SE" sz="1300" b="1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sv-SE" sz="1100" b="0" kern="1200" baseline="0" dirty="0">
                        <a:solidFill>
                          <a:schemeClr val="tx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8961708"/>
                  </a:ext>
                </a:extLst>
              </a:tr>
            </a:tbl>
          </a:graphicData>
        </a:graphic>
      </p:graphicFrame>
      <p:sp>
        <p:nvSpPr>
          <p:cNvPr id="3" name="Flödesschema: Koppling 2"/>
          <p:cNvSpPr/>
          <p:nvPr/>
        </p:nvSpPr>
        <p:spPr>
          <a:xfrm>
            <a:off x="10316624" y="1155442"/>
            <a:ext cx="457200" cy="457200"/>
          </a:xfrm>
          <a:prstGeom prst="flowChartConnector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03406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E252DD8-E15D-4AD1-AE43-ED1B51508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Resultat</a:t>
            </a:r>
            <a:r>
              <a:rPr lang="sv-SE" sz="4000" dirty="0"/>
              <a:t> 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9EF301C-865D-4165-8232-E2BCDA8094B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14576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AA61D39-FADC-483C-B869-69E42A55D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/>
              <a:t>Utmaninga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08134DDE-3533-4A29-A7E1-ED89121690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1021841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400" dirty="0"/>
              <a:t>Arbetet går enligt plan (grön)</a:t>
            </a:r>
          </a:p>
          <a:p>
            <a:r>
              <a:rPr lang="sv-SE" sz="1400" dirty="0"/>
              <a:t>Pågår med mindre problem (gul)</a:t>
            </a:r>
          </a:p>
          <a:p>
            <a:r>
              <a:rPr lang="sv-SE" sz="1400" dirty="0"/>
              <a:t>Har allvarliga problem (röd)</a:t>
            </a:r>
          </a:p>
          <a:p>
            <a:r>
              <a:rPr lang="sv-SE" sz="1400" dirty="0"/>
              <a:t>Avslutat </a:t>
            </a:r>
            <a:r>
              <a:rPr lang="sv-SE" sz="1400" dirty="0">
                <a:sym typeface="Wingdings" panose="05000000000000000000" pitchFamily="2" charset="2"/>
              </a:rPr>
              <a:t>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38577450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0</TotalTime>
  <Words>794</Words>
  <Application>Microsoft Office PowerPoint</Application>
  <PresentationFormat>Bredbild</PresentationFormat>
  <Paragraphs>120</Paragraphs>
  <Slides>9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5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9</vt:i4>
      </vt:variant>
    </vt:vector>
  </HeadingPairs>
  <TitlesOfParts>
    <vt:vector size="16" baseType="lpstr">
      <vt:lpstr>Arial</vt:lpstr>
      <vt:lpstr>Calibri</vt:lpstr>
      <vt:lpstr>Times New Roman</vt:lpstr>
      <vt:lpstr>Verdana</vt:lpstr>
      <vt:lpstr>Wingdings</vt:lpstr>
      <vt:lpstr>1_Office-tema</vt:lpstr>
      <vt:lpstr>think-cell Slide</vt:lpstr>
      <vt:lpstr>RPO Njur- och urinvägssjukdomar  Översiktlig handlingsplan för 2024  Uppdaterad: 2024-09-12</vt:lpstr>
      <vt:lpstr>Instruktioner</vt:lpstr>
      <vt:lpstr>PowerPoint-presentation</vt:lpstr>
      <vt:lpstr>PowerPoint-presentation</vt:lpstr>
      <vt:lpstr>PowerPoint-presentation</vt:lpstr>
      <vt:lpstr>PowerPoint-presentation</vt:lpstr>
      <vt:lpstr>Resultat </vt:lpstr>
      <vt:lpstr>Utmaningar</vt:lpstr>
      <vt:lpstr>PowerPoint-presentation</vt:lpstr>
    </vt:vector>
  </TitlesOfParts>
  <Company>Landstinget i Kalmar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ria Minich Karlsson</dc:creator>
  <cp:lastModifiedBy>Nydén Annica</cp:lastModifiedBy>
  <cp:revision>153</cp:revision>
  <cp:lastPrinted>2023-12-07T07:25:29Z</cp:lastPrinted>
  <dcterms:created xsi:type="dcterms:W3CDTF">2020-10-30T06:43:58Z</dcterms:created>
  <dcterms:modified xsi:type="dcterms:W3CDTF">2024-09-12T06:20:52Z</dcterms:modified>
</cp:coreProperties>
</file>